
<file path=[Content_Types].xml><?xml version="1.0" encoding="utf-8"?>
<Types xmlns="http://schemas.openxmlformats.org/package/2006/content-types">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ags/tag8.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Default Extension="bin" ContentType="application/vnd.openxmlformats-officedocument.oleObject"/>
  <Default Extension="png" ContentType="image/png"/>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FFFF"/>
    <a:srgbClr val="F2F2F2"/>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7429" autoAdjust="0"/>
    <p:restoredTop sz="96327" autoAdjust="0"/>
  </p:normalViewPr>
  <p:slideViewPr>
    <p:cSldViewPr snapToGrid="0">
      <p:cViewPr varScale="1">
        <p:scale>
          <a:sx n="70" d="100"/>
          <a:sy n="70" d="100"/>
        </p:scale>
        <p:origin x="-690" y="-10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pPr/>
              <a:t>5/11/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pPr/>
              <a:t>‹#›</a:t>
            </a:fld>
            <a:endParaRPr lang="en-US" sz="800" dirty="0"/>
          </a:p>
        </p:txBody>
      </p:sp>
    </p:spTree>
    <p:extLst>
      <p:ext uri="{BB962C8B-B14F-4D97-AF65-F5344CB8AC3E}">
        <p14:creationId xmlns=""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pPr/>
              <a:t>5/11/2023</a:t>
            </a:fld>
            <a:endParaRPr lang="en-US"/>
          </a:p>
        </p:txBody>
      </p:sp>
    </p:spTree>
    <p:extLst>
      <p:ext uri="{BB962C8B-B14F-4D97-AF65-F5344CB8AC3E}">
        <p14:creationId xmlns=""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5" Type="http://schemas.openxmlformats.org/officeDocument/2006/relationships/image" Target="../media/image9.png"/><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4.jpeg"/><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5" Type="http://schemas.openxmlformats.org/officeDocument/2006/relationships/image" Target="../media/image9.png"/><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4.jpeg"/><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5" Type="http://schemas.openxmlformats.org/officeDocument/2006/relationships/image" Target="../media/image5.png"/><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 xmlns:p14="http://schemas.microsoft.com/office/powerpoint/2010/main" val="398561226"/>
              </p:ext>
            </p:extLst>
          </p:nvPr>
        </p:nvGraphicFramePr>
        <p:xfrm>
          <a:off x="1588" y="1588"/>
          <a:ext cx="1588" cy="1588"/>
        </p:xfrm>
        <a:graphic>
          <a:graphicData uri="http://schemas.openxmlformats.org/presentationml/2006/ole">
            <p:oleObj spid="_x0000_s92216" name="think-cell Slide" r:id="rId7" imgW="360" imgH="360" progId="">
              <p:embed/>
            </p:oleObj>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9">
            <a:extLst>
              <a:ext uri="{28A0092B-C50C-407E-A947-70E740481C1C}">
                <a14:useLocalDpi xmlns=""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 xmlns:p14="http://schemas.microsoft.com/office/powerpoint/2010/main" val="1515183581"/>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1923524179"/>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632809067"/>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4167257739"/>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 xmlns:p14="http://schemas.microsoft.com/office/powerpoint/2010/main" val="3679174197"/>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 xmlns:p14="http://schemas.microsoft.com/office/powerpoint/2010/main" val="3325268785"/>
              </p:ext>
            </p:extLst>
          </p:nvPr>
        </p:nvGraphicFramePr>
        <p:xfrm>
          <a:off x="1588" y="1588"/>
          <a:ext cx="1587" cy="1587"/>
        </p:xfrm>
        <a:graphic>
          <a:graphicData uri="http://schemas.openxmlformats.org/presentationml/2006/ole">
            <p:oleObj spid="_x0000_s86178" name="think-cell Slide" r:id="rId5" imgW="360" imgH="360" progId="">
              <p:embed/>
            </p:oleObj>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2009208218"/>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 xmlns:p14="http://schemas.microsoft.com/office/powerpoint/2010/main" val="2974192123"/>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692871760"/>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extLst>
    <p:ext uri="{DCECCB84-F9BA-43D5-87BE-67443E8EF086}">
      <p15:sldGuideLst xmlns=""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 xmlns:p14="http://schemas.microsoft.com/office/powerpoint/2010/main" val="2438078681"/>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extLst>
    <p:ext uri="{DCECCB84-F9BA-43D5-87BE-67443E8EF086}">
      <p15:sldGuideLst xmlns=""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800280186"/>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 xmlns:p14="http://schemas.microsoft.com/office/powerpoint/2010/main" val="3369865758"/>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 xmlns:p14="http://schemas.microsoft.com/office/powerpoint/2010/main" val="1657312068"/>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 xmlns:p14="http://schemas.microsoft.com/office/powerpoint/2010/main" val="270558041"/>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3379662676"/>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 xmlns:p14="http://schemas.microsoft.com/office/powerpoint/2010/main" val="842619711"/>
              </p:ext>
            </p:extLst>
          </p:nvPr>
        </p:nvGraphicFramePr>
        <p:xfrm>
          <a:off x="1588" y="1588"/>
          <a:ext cx="1587" cy="1587"/>
        </p:xfrm>
        <a:graphic>
          <a:graphicData uri="http://schemas.openxmlformats.org/presentationml/2006/ole">
            <p:oleObj spid="_x0000_s88225" name="think-cell Slide" r:id="rId4" imgW="360" imgH="360" progId="">
              <p:embed/>
            </p:oleObj>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 xmlns:p14="http://schemas.microsoft.com/office/powerpoint/2010/main" val="1202179220"/>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 xmlns:p14="http://schemas.microsoft.com/office/powerpoint/2010/main" val="1830073930"/>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3014252063"/>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 xmlns:p14="http://schemas.microsoft.com/office/powerpoint/2010/main" val="2902310996"/>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824906963"/>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 xmlns:p14="http://schemas.microsoft.com/office/powerpoint/2010/main" val="735369323"/>
              </p:ext>
            </p:extLst>
          </p:nvPr>
        </p:nvGraphicFramePr>
        <p:xfrm>
          <a:off x="1588" y="1588"/>
          <a:ext cx="1587" cy="1587"/>
        </p:xfrm>
        <a:graphic>
          <a:graphicData uri="http://schemas.openxmlformats.org/presentationml/2006/ole">
            <p:oleObj spid="_x0000_s90198" name="think-cell Slide" r:id="rId6" imgW="360" imgH="360" progId="">
              <p:embed/>
            </p:oleObj>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 xmlns:p14="http://schemas.microsoft.com/office/powerpoint/2010/main" val="3661247507"/>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3695993763"/>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 xmlns:p14="http://schemas.microsoft.com/office/powerpoint/2010/main" val="36654899"/>
              </p:ext>
            </p:extLst>
          </p:nvPr>
        </p:nvGraphicFramePr>
        <p:xfrm>
          <a:off x="1588" y="1588"/>
          <a:ext cx="1588" cy="1588"/>
        </p:xfrm>
        <a:graphic>
          <a:graphicData uri="http://schemas.openxmlformats.org/presentationml/2006/ole">
            <p:oleObj spid="_x0000_s93240" name="think-cell Slide" r:id="rId7" imgW="360" imgH="360" progId="">
              <p:embed/>
            </p:oleObj>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9">
            <a:extLst>
              <a:ext uri="{28A0092B-C50C-407E-A947-70E740481C1C}">
                <a14:useLocalDpi xmlns=""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extLst>
    <p:ext uri="{DCECCB84-F9BA-43D5-87BE-67443E8EF086}">
      <p15:sldGuideLst xmlns=""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2730003498"/>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2220698565"/>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extLst>
    <p:ext uri="{DCECCB84-F9BA-43D5-87BE-67443E8EF086}">
      <p15:sldGuideLst xmlns=""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404340021"/>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3900753081"/>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extLst>
    <p:ext uri="{DCECCB84-F9BA-43D5-87BE-67443E8EF086}">
      <p15:sldGuideLst xmlns=""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2819904726"/>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580523903"/>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 xmlns:p14="http://schemas.microsoft.com/office/powerpoint/2010/main" val="2522366464"/>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 xmlns:p14="http://schemas.microsoft.com/office/powerpoint/2010/main" val="3482945632"/>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 xmlns:p14="http://schemas.microsoft.com/office/powerpoint/2010/main" val="3793922547"/>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3060452071"/>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1930165987"/>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2052710400"/>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3290578961"/>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 xmlns:p14="http://schemas.microsoft.com/office/powerpoint/2010/main" val="4279571629"/>
              </p:ext>
            </p:extLst>
          </p:nvPr>
        </p:nvGraphicFramePr>
        <p:xfrm>
          <a:off x="1588" y="1588"/>
          <a:ext cx="1587" cy="1587"/>
        </p:xfrm>
        <a:graphic>
          <a:graphicData uri="http://schemas.openxmlformats.org/presentationml/2006/ole">
            <p:oleObj spid="_x0000_s87202" name="think-cell Slide" r:id="rId5" imgW="360" imgH="360" progId="">
              <p:embed/>
            </p:oleObj>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294232159"/>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 xmlns:p14="http://schemas.microsoft.com/office/powerpoint/2010/main" val="3997916187"/>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2037699224"/>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 xmlns:p14="http://schemas.microsoft.com/office/powerpoint/2010/main" val="589356867"/>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569809541"/>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 xmlns:p14="http://schemas.microsoft.com/office/powerpoint/2010/main" val="1969027386"/>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125683641"/>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 xmlns:p14="http://schemas.microsoft.com/office/powerpoint/2010/main" val="3984939824"/>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 xmlns:p14="http://schemas.microsoft.com/office/powerpoint/2010/main" val="585075850"/>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 xmlns:p14="http://schemas.microsoft.com/office/powerpoint/2010/main" val="712323402"/>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3936192106"/>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 xmlns:p14="http://schemas.microsoft.com/office/powerpoint/2010/main" val="4066580690"/>
              </p:ext>
            </p:extLst>
          </p:nvPr>
        </p:nvGraphicFramePr>
        <p:xfrm>
          <a:off x="1588" y="1588"/>
          <a:ext cx="1587" cy="1587"/>
        </p:xfrm>
        <a:graphic>
          <a:graphicData uri="http://schemas.openxmlformats.org/presentationml/2006/ole">
            <p:oleObj spid="_x0000_s89247" name="think-cell Slide" r:id="rId4" imgW="360" imgH="360" progId="">
              <p:embed/>
            </p:oleObj>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 xmlns:p14="http://schemas.microsoft.com/office/powerpoint/2010/main" val="3741941376"/>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 xmlns:p14="http://schemas.microsoft.com/office/powerpoint/2010/main" val="2548375537"/>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023909060"/>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 xmlns:p14="http://schemas.microsoft.com/office/powerpoint/2010/main" val="1640827684"/>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1571185308"/>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2413221188"/>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 xmlns:p14="http://schemas.microsoft.com/office/powerpoint/2010/main" val="387538226"/>
              </p:ext>
            </p:extLst>
          </p:nvPr>
        </p:nvGraphicFramePr>
        <p:xfrm>
          <a:off x="1588" y="1588"/>
          <a:ext cx="1587" cy="1587"/>
        </p:xfrm>
        <a:graphic>
          <a:graphicData uri="http://schemas.openxmlformats.org/presentationml/2006/ole">
            <p:oleObj spid="_x0000_s91220" name="think-cell Slide" r:id="rId6" imgW="360" imgH="360" progId="">
              <p:embed/>
            </p:oleObj>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 xmlns:p14="http://schemas.microsoft.com/office/powerpoint/2010/main" val="2351621893"/>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3818754075"/>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75957" name="think-cell Slide" r:id="rId5"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 xmlns:p14="http://schemas.microsoft.com/office/powerpoint/2010/main" val="2570314066"/>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405058547"/>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 xmlns:p14="http://schemas.microsoft.com/office/powerpoint/2010/main" val="1963492020"/>
              </p:ext>
            </p:extLst>
          </p:nvPr>
        </p:nvGraphicFramePr>
        <p:xfrm>
          <a:off x="1588" y="1588"/>
          <a:ext cx="1587" cy="1587"/>
        </p:xfrm>
        <a:graphic>
          <a:graphicData uri="http://schemas.openxmlformats.org/presentationml/2006/ole">
            <p:oleObj spid="_x0000_s76981" name="think-cell Slide" r:id="rId4"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 xmlns:p14="http://schemas.microsoft.com/office/powerpoint/2010/main" val="372928598"/>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78005" name="think-cell Slide" r:id="rId4"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4216077176"/>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79029" name="think-cell Slide" r:id="rId5" imgW="360" imgH="360" progId="">
              <p:embed/>
            </p:oleObj>
          </a:graphicData>
        </a:graphic>
      </p:graphicFrame>
      <p:pic>
        <p:nvPicPr>
          <p:cNvPr id="10" name="Picture 9"/>
          <p:cNvPicPr>
            <a:picLocks noChangeAspect="1"/>
          </p:cNvPicPr>
          <p:nvPr userDrawn="1"/>
        </p:nvPicPr>
        <p:blipFill rotWithShape="1">
          <a:blip r:embed="rId6">
            <a:extLst>
              <a:ext uri="{28A0092B-C50C-407E-A947-70E740481C1C}">
                <a14:useLocalDpi xmlns=""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 xmlns:p14="http://schemas.microsoft.com/office/powerpoint/2010/main" val="2270190941"/>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80053" name="think-cell Slide" r:id="rId5" imgW="360" imgH="360" progId="">
              <p:embed/>
            </p:oleObj>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 xmlns:p14="http://schemas.microsoft.com/office/powerpoint/2010/main" val="1865576705"/>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 xmlns:p14="http://schemas.microsoft.com/office/powerpoint/2010/main" val="2440061710"/>
              </p:ext>
            </p:extLst>
          </p:nvPr>
        </p:nvGraphicFramePr>
        <p:xfrm>
          <a:off x="1588" y="1588"/>
          <a:ext cx="1587" cy="1587"/>
        </p:xfrm>
        <a:graphic>
          <a:graphicData uri="http://schemas.openxmlformats.org/presentationml/2006/ole">
            <p:oleObj spid="_x0000_s81077" name="think-cell Slide" r:id="rId4" imgW="360" imgH="360" progId="">
              <p:embed/>
            </p:oleObj>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 xmlns:p14="http://schemas.microsoft.com/office/powerpoint/2010/main" val="3206140772"/>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82101" name="think-cell Slide" r:id="rId4" imgW="360" imgH="360" progId="">
              <p:embed/>
            </p:oleObj>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704339647"/>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83125" name="think-cell Slide" r:id="rId5" imgW="360" imgH="360" progId="">
              <p:embed/>
            </p:oleObj>
          </a:graphicData>
        </a:graphic>
      </p:graphicFrame>
      <p:pic>
        <p:nvPicPr>
          <p:cNvPr id="23" name="Picture 22"/>
          <p:cNvPicPr>
            <a:picLocks noChangeAspect="1"/>
          </p:cNvPicPr>
          <p:nvPr userDrawn="1"/>
        </p:nvPicPr>
        <p:blipFill rotWithShape="1">
          <a:blip r:embed="rId6">
            <a:extLst>
              <a:ext uri="{28A0092B-C50C-407E-A947-70E740481C1C}">
                <a14:useLocalDpi xmlns=""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 xmlns:p14="http://schemas.microsoft.com/office/powerpoint/2010/main" val="1784797"/>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84149" name="think-cell Slide" r:id="rId4" imgW="360" imgH="360" progId="">
              <p:embed/>
            </p:oleObj>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2933657859"/>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 xmlns:p14="http://schemas.microsoft.com/office/powerpoint/2010/main" val="3884277641"/>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 xmlns:p14="http://schemas.microsoft.com/office/powerpoint/2010/main" val="3592263840"/>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 xmlns:p14="http://schemas.microsoft.com/office/powerpoint/2010/main" val="1651496776"/>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 xmlns:p14="http://schemas.microsoft.com/office/powerpoint/2010/main" val="1194141760"/>
              </p:ext>
            </p:extLst>
          </p:nvPr>
        </p:nvGraphicFramePr>
        <p:xfrm>
          <a:off x="1588" y="1588"/>
          <a:ext cx="1587" cy="1587"/>
        </p:xfrm>
        <a:graphic>
          <a:graphicData uri="http://schemas.openxmlformats.org/presentationml/2006/ole">
            <p:oleObj spid="_x0000_s2600" name="think-cell Slide" r:id="rId71" imgW="360" imgH="360" progId="">
              <p:embed/>
            </p:oleObj>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 xmlns:p14="http://schemas.microsoft.com/office/powerpoint/2010/main" val="3452753013"/>
              </p:ext>
            </p:extLst>
          </p:nvPr>
        </p:nvGraphicFramePr>
        <p:xfrm>
          <a:off x="1588" y="1588"/>
          <a:ext cx="1227" cy="1588"/>
        </p:xfrm>
        <a:graphic>
          <a:graphicData uri="http://schemas.openxmlformats.org/presentationml/2006/ole">
            <p:oleObj spid="_x0000_s129026" name="think-cell Slide" r:id="rId5" imgW="7761960" imgH="10047960" progId="">
              <p:embed/>
            </p:oleObj>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 xmlns:a16="http://schemas.microsoft.com/office/drawing/2014/main" id="{0E5F306D-D033-0749-8A8A-0FBDE0003FE9}"/>
              </a:ext>
            </a:extLst>
          </p:cNvPr>
          <p:cNvSpPr txBox="1">
            <a:spLocks/>
          </p:cNvSpPr>
          <p:nvPr/>
        </p:nvSpPr>
        <p:spPr>
          <a:xfrm>
            <a:off x="4999384" y="1310186"/>
            <a:ext cx="6352558" cy="4396226"/>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None/>
            </a:pPr>
            <a:r>
              <a:rPr sz="1600" smtClean="0"/>
              <a:t>Churn is indeed high in the SME </a:t>
            </a:r>
            <a:r>
              <a:rPr sz="1600" smtClean="0"/>
              <a:t>division </a:t>
            </a:r>
            <a:endParaRPr sz="1600" smtClean="0"/>
          </a:p>
          <a:p>
            <a:pPr marL="108000" lvl="1" indent="0">
              <a:buClr>
                <a:schemeClr val="tx2">
                  <a:lumMod val="100000"/>
                </a:schemeClr>
              </a:buClr>
              <a:buSzPct val="100000"/>
              <a:buNone/>
            </a:pPr>
            <a:r>
              <a:rPr sz="1600" smtClean="0"/>
              <a:t>• </a:t>
            </a:r>
            <a:r>
              <a:rPr sz="1600" smtClean="0"/>
              <a:t>9.7% across 14606 customers</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endParaRPr sz="1600" smtClean="0"/>
          </a:p>
          <a:p>
            <a:pPr marL="108000" lvl="1" indent="0">
              <a:buClr>
                <a:schemeClr val="tx2">
                  <a:lumMod val="100000"/>
                </a:schemeClr>
              </a:buClr>
              <a:buSzPct val="100000"/>
              <a:buNone/>
            </a:pPr>
            <a:r>
              <a:rPr sz="1600" smtClean="0"/>
              <a:t>Predictive </a:t>
            </a:r>
            <a:r>
              <a:rPr sz="1600" smtClean="0"/>
              <a:t>model is able to predict churn but the main driver is not customer </a:t>
            </a:r>
            <a:r>
              <a:rPr sz="1600" smtClean="0"/>
              <a:t>price </a:t>
            </a:r>
            <a:r>
              <a:rPr sz="1600" smtClean="0"/>
              <a:t>sensitivity</a:t>
            </a:r>
          </a:p>
          <a:p>
            <a:pPr marL="108000" lvl="1" indent="0">
              <a:buClr>
                <a:schemeClr val="tx2">
                  <a:lumMod val="100000"/>
                </a:schemeClr>
              </a:buClr>
              <a:buSzPct val="100000"/>
              <a:buNone/>
            </a:pPr>
            <a:r>
              <a:rPr sz="1600" smtClean="0"/>
              <a:t> </a:t>
            </a:r>
            <a:r>
              <a:rPr sz="1600" smtClean="0"/>
              <a:t>• Yearly consumption, forecasted consumption and net margin are the 3 </a:t>
            </a:r>
            <a:r>
              <a:rPr sz="1600" smtClean="0"/>
              <a:t>largest </a:t>
            </a:r>
            <a:r>
              <a:rPr sz="1600" smtClean="0"/>
              <a:t>drivers</a:t>
            </a:r>
          </a:p>
          <a:p>
            <a:pPr marL="108000" lvl="1" indent="0">
              <a:buClr>
                <a:schemeClr val="tx2">
                  <a:lumMod val="100000"/>
                </a:schemeClr>
              </a:buClr>
              <a:buSzPct val="100000"/>
              <a:buNone/>
            </a:pPr>
            <a:endParaRPr sz="1600" smtClean="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endParaRPr sz="1600" smtClean="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endParaRPr sz="1600" smtClean="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sz="1600" smtClean="0"/>
              <a:t>Discount strategy of 20% is effective but only if </a:t>
            </a:r>
            <a:r>
              <a:rPr sz="1600" smtClean="0"/>
              <a:t>targeted </a:t>
            </a:r>
            <a:r>
              <a:rPr sz="1600" smtClean="0"/>
              <a:t>appropriately</a:t>
            </a:r>
          </a:p>
          <a:p>
            <a:pPr marL="108000" lvl="1" indent="0">
              <a:buClr>
                <a:schemeClr val="tx2">
                  <a:lumMod val="100000"/>
                </a:schemeClr>
              </a:buClr>
              <a:buSzPct val="100000"/>
              <a:buNone/>
            </a:pPr>
            <a:r>
              <a:rPr sz="1600" smtClean="0"/>
              <a:t> </a:t>
            </a:r>
            <a:r>
              <a:rPr sz="1600" smtClean="0"/>
              <a:t>• Offer discount to only to high -value customers with high </a:t>
            </a:r>
            <a:r>
              <a:rPr sz="1600" smtClean="0"/>
              <a:t>churn </a:t>
            </a:r>
            <a:r>
              <a:rPr sz="1600" smtClean="0"/>
              <a:t>probability</a:t>
            </a:r>
          </a:p>
          <a:p>
            <a:pPr marL="108000" lvl="1" indent="0">
              <a:buClr>
                <a:schemeClr val="tx2">
                  <a:lumMod val="100000"/>
                </a:schemeClr>
              </a:buClr>
              <a:buSzPct val="100000"/>
              <a:buNone/>
            </a:pPr>
            <a:endParaRPr sz="1600" smtClean="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endParaRPr sz="1600" smtClean="0">
              <a:solidFill>
                <a:schemeClr val="tx1">
                  <a:lumMod val="100000"/>
                </a:schemeClr>
              </a:solidFill>
              <a:latin typeface="Trebuchet MS" panose="020B0703020202090204" pitchFamily="34" charset="0"/>
            </a:endParaRPr>
          </a:p>
        </p:txBody>
      </p:sp>
    </p:spTree>
    <p:extLst>
      <p:ext uri="{BB962C8B-B14F-4D97-AF65-F5344CB8AC3E}">
        <p14:creationId xmlns="" xmlns:p14="http://schemas.microsoft.com/office/powerpoint/2010/main" val="3669319244"/>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58</TotalTime>
  <Words>79</Words>
  <Application>Microsoft Macintosh PowerPoint</Application>
  <PresentationFormat>Custom</PresentationFormat>
  <Paragraphs>14</Paragraphs>
  <Slides>1</Slides>
  <Notes>1</Notes>
  <HiddenSlides>0</HiddenSlides>
  <MMClips>0</MMClips>
  <ScaleCrop>false</ScaleCrop>
  <HeadingPairs>
    <vt:vector size="8" baseType="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4" baseType="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Win</cp:lastModifiedBy>
  <cp:revision>449</cp:revision>
  <cp:lastPrinted>2016-04-06T18:59:25Z</cp:lastPrinted>
  <dcterms:created xsi:type="dcterms:W3CDTF">2016-11-04T11:46:04Z</dcterms:created>
  <dcterms:modified xsi:type="dcterms:W3CDTF">2023-05-11T12:0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